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724" r:id="rId7"/>
  </p:sldMasterIdLst>
  <p:notesMasterIdLst>
    <p:notesMasterId r:id="rId9"/>
  </p:notesMasterIdLst>
  <p:handoutMasterIdLst>
    <p:handoutMasterId r:id="rId10"/>
  </p:handoutMasterIdLst>
  <p:sldIdLst>
    <p:sldId id="515" r:id="rId8"/>
  </p:sldIdLst>
  <p:sldSz cx="12192000" cy="6858000"/>
  <p:notesSz cx="7010400" cy="9296400"/>
  <p:embeddedFontLs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Futura Bold" panose="00000900000000000000" pitchFamily="2" charset="0"/>
      <p:regular r:id="rId15"/>
      <p:boldItalic r:id="rId16"/>
    </p:embeddedFont>
    <p:embeddedFont>
      <p:font typeface="Futura Medium" panose="00000400000000000000" pitchFamily="2" charset="0"/>
      <p:regular r:id="rId17"/>
      <p:bold r:id="rId18"/>
      <p:italic r:id="rId19"/>
      <p:boldItalic r:id="rId20"/>
    </p:embeddedFont>
  </p:embeddedFont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logun, Eyitayo A SPDC-UPO/G/USTN" initials="BEAS" lastIdx="7" clrIdx="0">
    <p:extLst>
      <p:ext uri="{19B8F6BF-5375-455C-9EA6-DF929625EA0E}">
        <p15:presenceInfo xmlns:p15="http://schemas.microsoft.com/office/powerpoint/2012/main" userId="S-1-5-21-1202660629-507921405-682003330-14584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6E7"/>
    <a:srgbClr val="FFFEF3"/>
    <a:srgbClr val="FEF4E2"/>
    <a:srgbClr val="FFFFCC"/>
    <a:srgbClr val="FF66FF"/>
    <a:srgbClr val="339B6E"/>
    <a:srgbClr val="D9D9D9"/>
    <a:srgbClr val="FFFFFF"/>
    <a:srgbClr val="CCE9DB"/>
    <a:srgbClr val="99CD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97" autoAdjust="0"/>
    <p:restoredTop sz="93727" autoAdjust="0"/>
  </p:normalViewPr>
  <p:slideViewPr>
    <p:cSldViewPr snapToGrid="0" snapToObjects="1" showGuides="1">
      <p:cViewPr varScale="1">
        <p:scale>
          <a:sx n="64" d="100"/>
          <a:sy n="64" d="100"/>
        </p:scale>
        <p:origin x="888" y="4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6" d="100"/>
        <a:sy n="76" d="100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2160" y="7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1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font" Target="fonts/font1.fntdata"/><Relationship Id="rId2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font" Target="fonts/font5.fntdata"/><Relationship Id="rId23" Type="http://schemas.openxmlformats.org/officeDocument/2006/relationships/viewProps" Target="viewProps.xml"/><Relationship Id="rId10" Type="http://schemas.openxmlformats.org/officeDocument/2006/relationships/handoutMaster" Target="handoutMasters/handoutMaster1.xml"/><Relationship Id="rId19" Type="http://schemas.openxmlformats.org/officeDocument/2006/relationships/font" Target="fonts/font9.fntdata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04/05/2020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04/05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E073A8-9681-4555-BE25-E8917FFC9BF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Futura Medium"/>
            </a:endParaRPr>
          </a:p>
        </p:txBody>
      </p:sp>
    </p:spTree>
    <p:extLst>
      <p:ext uri="{BB962C8B-B14F-4D97-AF65-F5344CB8AC3E}">
        <p14:creationId xmlns:p14="http://schemas.microsoft.com/office/powerpoint/2010/main" val="1540837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 descr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5" name="TextBox 14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4421817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6174297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TextBox 12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17093938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2950519436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428501408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5463758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590832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4" name="TextBox 13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42742001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47541941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12915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069132870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57753939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 descr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6" name="TextBox 15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72028621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281961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820757088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7" name="TextBox 16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4223731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92" b="10192"/>
          <a:stretch/>
        </p:blipFill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96680767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24295106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39907818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87563" indent="-176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738763" indent="-151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79163" indent="-140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744092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820080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868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86800" indent="-176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20371719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/>
          <p:cNvSpPr/>
          <p:nvPr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120015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43" r:id="rId19"/>
    <p:sldLayoutId id="2147483744" r:id="rId20"/>
    <p:sldLayoutId id="2147483745" r:id="rId21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03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336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35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86400" indent="-151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5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15">
            <a:extLst>
              <a:ext uri="{FF2B5EF4-FFF2-40B4-BE49-F238E27FC236}">
                <a16:creationId xmlns:a16="http://schemas.microsoft.com/office/drawing/2014/main" id="{71BA1962-37FA-4946-B33A-D19F0D568BFD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6363016" y="796994"/>
            <a:ext cx="5312429" cy="212970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108000" rIns="90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ey milestones: 			               Date</a:t>
            </a: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lvl="0" indent="-17145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US" sz="105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/PO Creation </a:t>
            </a:r>
            <a:r>
              <a:rPr lang="en-GB" sz="105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            4</a:t>
            </a:r>
            <a:r>
              <a:rPr kumimoji="0" lang="en-GB" sz="105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May 2020</a:t>
            </a:r>
          </a:p>
          <a:p>
            <a:pPr marL="171450" lvl="0" indent="-17145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US" sz="105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bilization 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	                                              8</a:t>
            </a:r>
            <a:r>
              <a:rPr kumimoji="0" lang="en-GB" sz="105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Jun 2020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unu Integration                                               	            15</a:t>
            </a:r>
            <a:r>
              <a:rPr kumimoji="0" lang="en-GB" sz="105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GB" sz="105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n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20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nisede Integration		             22</a:t>
            </a:r>
            <a:r>
              <a:rPr kumimoji="0" lang="en-GB" sz="105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d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Jun 2020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ukushi Integration 		             </a:t>
            </a:r>
            <a:r>
              <a:rPr lang="en-GB" sz="105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th Jul 2020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gbotogbo Integration	                                              </a:t>
            </a:r>
            <a:r>
              <a:rPr lang="en-GB" sz="105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GB" sz="1050" baseline="3000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d</a:t>
            </a:r>
            <a:r>
              <a:rPr lang="en-GB" sz="105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ug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20</a:t>
            </a:r>
            <a:endParaRPr lang="en-GB" sz="1050" dirty="0">
              <a:solidFill>
                <a:srgbClr val="59595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GB" sz="105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Validation                                                                                   17</a:t>
            </a:r>
            <a:r>
              <a:rPr lang="en-GB" sz="1050" baseline="3000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GB" sz="105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ug 2020						</a:t>
            </a:r>
          </a:p>
          <a:p>
            <a:pPr marR="0" lvl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Rechteck 15">
            <a:extLst>
              <a:ext uri="{FF2B5EF4-FFF2-40B4-BE49-F238E27FC236}">
                <a16:creationId xmlns:a16="http://schemas.microsoft.com/office/drawing/2014/main" id="{6E354EB7-AFCA-459F-A4FD-87A800331055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6355180" y="3191470"/>
            <a:ext cx="5351066" cy="17670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108000" rIns="90000" bIns="72000" numCol="1" rtlCol="0" anchor="t" anchorCtr="0" compatLnSpc="1">
            <a:prstTxWarp prst="textNoShape">
              <a:avLst/>
            </a:prstTxWarp>
          </a:bodyPr>
          <a:lstStyle/>
          <a:p>
            <a:pPr indent="-95250">
              <a:lnSpc>
                <a:spcPct val="90000"/>
              </a:lnSpc>
              <a:spcBef>
                <a:spcPct val="30000"/>
              </a:spcBef>
              <a:buSzPct val="100000"/>
              <a:buFontTx/>
              <a:buChar char="•"/>
            </a:pPr>
            <a:endParaRPr lang="en-GB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-95250">
              <a:lnSpc>
                <a:spcPct val="90000"/>
              </a:lnSpc>
              <a:spcBef>
                <a:spcPct val="30000"/>
              </a:spcBef>
              <a:buSzPct val="100000"/>
              <a:buFontTx/>
              <a:buChar char="•"/>
            </a:pPr>
            <a:r>
              <a:rPr lang="en-GB" sz="1050" dirty="0">
                <a:latin typeface="Arial" panose="020B0604020202020204" pitchFamily="34" charset="0"/>
                <a:cs typeface="Arial" panose="020B0604020202020204" pitchFamily="34" charset="0"/>
              </a:rPr>
              <a:t>Project Sponsor:           Meshach Maichibi (West Asset Manager)</a:t>
            </a:r>
          </a:p>
          <a:p>
            <a:pPr indent="-95250">
              <a:lnSpc>
                <a:spcPct val="90000"/>
              </a:lnSpc>
              <a:spcBef>
                <a:spcPct val="30000"/>
              </a:spcBef>
              <a:buSzPct val="100000"/>
              <a:buFontTx/>
              <a:buChar char="•"/>
            </a:pPr>
            <a:r>
              <a:rPr lang="en-GB" sz="1050" dirty="0">
                <a:latin typeface="Arial" panose="020B0604020202020204" pitchFamily="34" charset="0"/>
                <a:cs typeface="Arial" panose="020B0604020202020204" pitchFamily="34" charset="0"/>
              </a:rPr>
              <a:t>Project Owner:              Busari Abiodun (Project OPS Mgr West)</a:t>
            </a:r>
          </a:p>
          <a:p>
            <a:pPr indent="-95250">
              <a:lnSpc>
                <a:spcPct val="90000"/>
              </a:lnSpc>
              <a:spcBef>
                <a:spcPct val="30000"/>
              </a:spcBef>
              <a:buSzPct val="100000"/>
              <a:buFontTx/>
              <a:buChar char="•"/>
            </a:pPr>
            <a:r>
              <a:rPr lang="en-GB" sz="1050" dirty="0">
                <a:latin typeface="Arial" panose="020B0604020202020204" pitchFamily="34" charset="0"/>
                <a:cs typeface="Arial" panose="020B0604020202020204" pitchFamily="34" charset="0"/>
              </a:rPr>
              <a:t>Project Lead:	       Martins Amos (Lead Smart Field)</a:t>
            </a:r>
            <a:endParaRPr lang="en-US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indent="-95250">
              <a:lnSpc>
                <a:spcPct val="90000"/>
              </a:lnSpc>
              <a:spcBef>
                <a:spcPct val="30000"/>
              </a:spcBef>
              <a:buSzPct val="100000"/>
              <a:buFontTx/>
              <a:buChar char="•"/>
              <a:defRPr/>
            </a:pPr>
            <a:r>
              <a:rPr lang="en-GB" sz="105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Members:	       Otoakhia Iroboudu</a:t>
            </a:r>
          </a:p>
          <a:p>
            <a:pPr lvl="0">
              <a:lnSpc>
                <a:spcPct val="90000"/>
              </a:lnSpc>
              <a:spcBef>
                <a:spcPct val="30000"/>
              </a:spcBef>
              <a:buSzPct val="100000"/>
              <a:defRPr/>
            </a:pPr>
            <a:r>
              <a:rPr lang="en-GB" sz="105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     Vincent Levi</a:t>
            </a:r>
          </a:p>
          <a:p>
            <a:pPr marL="1123920" lvl="2">
              <a:lnSpc>
                <a:spcPct val="90000"/>
              </a:lnSpc>
              <a:spcBef>
                <a:spcPct val="30000"/>
              </a:spcBef>
              <a:buSzPct val="100000"/>
              <a:defRPr/>
            </a:pPr>
            <a:r>
              <a:rPr lang="en-GB" sz="105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     Okolie Emmanuel</a:t>
            </a:r>
          </a:p>
          <a:p>
            <a:pPr marL="1123920" lvl="2">
              <a:lnSpc>
                <a:spcPct val="90000"/>
              </a:lnSpc>
              <a:spcBef>
                <a:spcPct val="30000"/>
              </a:spcBef>
              <a:buSzPct val="100000"/>
              <a:defRPr/>
            </a:pPr>
            <a:r>
              <a:rPr lang="en-GB" sz="105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     Oboh John</a:t>
            </a:r>
          </a:p>
          <a:p>
            <a:pPr marL="0" marR="0" lvl="0" indent="-95250" algn="l" defTabSz="1219170" rtl="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Rechteck 15"/>
          <p:cNvSpPr/>
          <p:nvPr>
            <p:custDataLst>
              <p:tags r:id="rId3"/>
            </p:custDataLst>
          </p:nvPr>
        </p:nvSpPr>
        <p:spPr bwMode="gray">
          <a:xfrm>
            <a:off x="485753" y="732763"/>
            <a:ext cx="5866767" cy="219393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108000" rIns="90000" bIns="72000" numCol="1" rtlCol="0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nl-NL" sz="1100" dirty="0">
                <a:latin typeface="Arial" panose="020B0604020202020204" pitchFamily="34" charset="0"/>
                <a:cs typeface="Arial" panose="020B0604020202020204" pitchFamily="34" charset="0"/>
              </a:rPr>
              <a:t>Tunu Node Rotating Equipment Real time data integration to PI is an enabler for the deployment of SmartConnect in Tunu node critical rotating rotating equipment’.</a:t>
            </a:r>
          </a:p>
          <a:p>
            <a:pPr algn="just"/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The Reliability Engineering team has identified a total of 1463 tags ( For Gas Turbine ,Generator, Screw /Centrifugal /Reciprocating Compressor to be integrated.</a:t>
            </a:r>
          </a:p>
          <a:p>
            <a:pPr lvl="0"/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This integration to PI will actualize the opportunity to reduce unscheduled deferment associated with equipment failure as a result of Real time data availability to enhance the capability to measure equipment status and performance in the above facilities </a:t>
            </a:r>
          </a:p>
          <a:p>
            <a:pPr algn="just"/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Early warning capability associated with the data acquisition in the implemented facilities reduces the possibility of catastrophic breakdown of equipment which would result in high cost of corrective maintenance.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echteck 13"/>
          <p:cNvSpPr/>
          <p:nvPr>
            <p:custDataLst>
              <p:tags r:id="rId4"/>
            </p:custDataLst>
          </p:nvPr>
        </p:nvSpPr>
        <p:spPr bwMode="gray">
          <a:xfrm>
            <a:off x="485753" y="479136"/>
            <a:ext cx="5861406" cy="310944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72000" rIns="90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F5F5F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ckground / Business Case</a:t>
            </a:r>
          </a:p>
        </p:txBody>
      </p:sp>
      <p:sp>
        <p:nvSpPr>
          <p:cNvPr id="19" name="Rectangle 2">
            <a:extLst>
              <a:ext uri="{FF2B5EF4-FFF2-40B4-BE49-F238E27FC236}">
                <a16:creationId xmlns:a16="http://schemas.microsoft.com/office/drawing/2014/main" id="{57C2E372-2AAF-4CA7-942A-9768EE205A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5752" y="145489"/>
            <a:ext cx="11052655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dirty="0"/>
              <a:t>Integrate </a:t>
            </a:r>
            <a:r>
              <a:rPr lang="en-US" sz="1800" dirty="0" err="1"/>
              <a:t>Tunu</a:t>
            </a:r>
            <a:r>
              <a:rPr lang="en-US" sz="1800" dirty="0"/>
              <a:t> Node Rotating Equipment Realtime Data into PI by August 2020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hteck 15">
            <a:extLst>
              <a:ext uri="{FF2B5EF4-FFF2-40B4-BE49-F238E27FC236}">
                <a16:creationId xmlns:a16="http://schemas.microsoft.com/office/drawing/2014/main" id="{A1348530-DA95-4808-9898-493303605CA9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473296" y="3091509"/>
            <a:ext cx="5866767" cy="76048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108000" rIns="90000" bIns="72000" numCol="1" rtlCol="0" anchor="t" anchorCtr="0" compatLnSpc="1">
            <a:prstTxWarp prst="textNoShape">
              <a:avLst/>
            </a:prstTxWarp>
          </a:bodyPr>
          <a:lstStyle/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Availability of  Equipment Real time data for Smart connect implementation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Equipment Performance surveillance in PMC  </a:t>
            </a:r>
          </a:p>
        </p:txBody>
      </p:sp>
      <p:sp>
        <p:nvSpPr>
          <p:cNvPr id="25" name="Rechteck 16">
            <a:extLst>
              <a:ext uri="{FF2B5EF4-FFF2-40B4-BE49-F238E27FC236}">
                <a16:creationId xmlns:a16="http://schemas.microsoft.com/office/drawing/2014/main" id="{03D51808-AC8A-4696-B419-2AE750865BE9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6327607" y="2909296"/>
            <a:ext cx="5378639" cy="2651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72000" rIns="90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F5F5F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gn Off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Rechteck 16">
            <a:extLst>
              <a:ext uri="{FF2B5EF4-FFF2-40B4-BE49-F238E27FC236}">
                <a16:creationId xmlns:a16="http://schemas.microsoft.com/office/drawing/2014/main" id="{D60DBBB3-3849-4ECA-988F-7B708387A650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6355584" y="476623"/>
            <a:ext cx="5331113" cy="31094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72000" rIns="90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F5F5F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lestone Deliverables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C17AEE2-5BA9-49AA-B641-B5A429FA55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8346109"/>
              </p:ext>
            </p:extLst>
          </p:nvPr>
        </p:nvGraphicFramePr>
        <p:xfrm>
          <a:off x="460839" y="3833125"/>
          <a:ext cx="5866769" cy="294601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87701">
                  <a:extLst>
                    <a:ext uri="{9D8B030D-6E8A-4147-A177-3AD203B41FA5}">
                      <a16:colId xmlns:a16="http://schemas.microsoft.com/office/drawing/2014/main" val="1750765941"/>
                    </a:ext>
                  </a:extLst>
                </a:gridCol>
                <a:gridCol w="1205500">
                  <a:extLst>
                    <a:ext uri="{9D8B030D-6E8A-4147-A177-3AD203B41FA5}">
                      <a16:colId xmlns:a16="http://schemas.microsoft.com/office/drawing/2014/main" val="1083514893"/>
                    </a:ext>
                  </a:extLst>
                </a:gridCol>
                <a:gridCol w="1607334">
                  <a:extLst>
                    <a:ext uri="{9D8B030D-6E8A-4147-A177-3AD203B41FA5}">
                      <a16:colId xmlns:a16="http://schemas.microsoft.com/office/drawing/2014/main" val="620572932"/>
                    </a:ext>
                  </a:extLst>
                </a:gridCol>
                <a:gridCol w="1366234">
                  <a:extLst>
                    <a:ext uri="{9D8B030D-6E8A-4147-A177-3AD203B41FA5}">
                      <a16:colId xmlns:a16="http://schemas.microsoft.com/office/drawing/2014/main" val="1434073405"/>
                    </a:ext>
                  </a:extLst>
                </a:gridCol>
              </a:tblGrid>
              <a:tr h="159294"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 Facility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Tags on DCS not on PI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Tags not DCS &amp; PI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extLst>
                  <a:ext uri="{0D108BD9-81ED-4DB2-BD59-A6C34878D82A}">
                    <a16:rowId xmlns:a16="http://schemas.microsoft.com/office/drawing/2014/main" val="363972406"/>
                  </a:ext>
                </a:extLst>
              </a:tr>
              <a:tr h="316366"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Condensate Flash Gas Compressor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err="1">
                          <a:solidFill>
                            <a:schemeClr val="tx1"/>
                          </a:solidFill>
                          <a:effectLst/>
                        </a:rPr>
                        <a:t>Tunu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21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43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extLst>
                  <a:ext uri="{0D108BD9-81ED-4DB2-BD59-A6C34878D82A}">
                    <a16:rowId xmlns:a16="http://schemas.microsoft.com/office/drawing/2014/main" val="2124013626"/>
                  </a:ext>
                </a:extLst>
              </a:tr>
              <a:tr h="159418"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Benisede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21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30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extLst>
                  <a:ext uri="{0D108BD9-81ED-4DB2-BD59-A6C34878D82A}">
                    <a16:rowId xmlns:a16="http://schemas.microsoft.com/office/drawing/2014/main" val="1832641652"/>
                  </a:ext>
                </a:extLst>
              </a:tr>
              <a:tr h="159418"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err="1">
                          <a:solidFill>
                            <a:schemeClr val="tx1"/>
                          </a:solidFill>
                          <a:effectLst/>
                        </a:rPr>
                        <a:t>Okpukushi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21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extLst>
                  <a:ext uri="{0D108BD9-81ED-4DB2-BD59-A6C34878D82A}">
                    <a16:rowId xmlns:a16="http://schemas.microsoft.com/office/drawing/2014/main" val="4008264832"/>
                  </a:ext>
                </a:extLst>
              </a:tr>
              <a:tr h="159418"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Ogbotobo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21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30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extLst>
                  <a:ext uri="{0D108BD9-81ED-4DB2-BD59-A6C34878D82A}">
                    <a16:rowId xmlns:a16="http://schemas.microsoft.com/office/drawing/2014/main" val="1051856969"/>
                  </a:ext>
                </a:extLst>
              </a:tr>
              <a:tr h="159418"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AG Gas Compressor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Tunu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100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53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extLst>
                  <a:ext uri="{0D108BD9-81ED-4DB2-BD59-A6C34878D82A}">
                    <a16:rowId xmlns:a16="http://schemas.microsoft.com/office/drawing/2014/main" val="920736599"/>
                  </a:ext>
                </a:extLst>
              </a:tr>
              <a:tr h="159418"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Export Gas Compressor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Tunu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86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46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extLst>
                  <a:ext uri="{0D108BD9-81ED-4DB2-BD59-A6C34878D82A}">
                    <a16:rowId xmlns:a16="http://schemas.microsoft.com/office/drawing/2014/main" val="1658872469"/>
                  </a:ext>
                </a:extLst>
              </a:tr>
              <a:tr h="316366"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Gas Generator ( Engine Driven)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Benisede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60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96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extLst>
                  <a:ext uri="{0D108BD9-81ED-4DB2-BD59-A6C34878D82A}">
                    <a16:rowId xmlns:a16="http://schemas.microsoft.com/office/drawing/2014/main" val="2191011685"/>
                  </a:ext>
                </a:extLst>
              </a:tr>
              <a:tr h="159418"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Okpukushi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60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96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extLst>
                  <a:ext uri="{0D108BD9-81ED-4DB2-BD59-A6C34878D82A}">
                    <a16:rowId xmlns:a16="http://schemas.microsoft.com/office/drawing/2014/main" val="979748569"/>
                  </a:ext>
                </a:extLst>
              </a:tr>
              <a:tr h="159418"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Ogbotobo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45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90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extLst>
                  <a:ext uri="{0D108BD9-81ED-4DB2-BD59-A6C34878D82A}">
                    <a16:rowId xmlns:a16="http://schemas.microsoft.com/office/drawing/2014/main" val="3573056116"/>
                  </a:ext>
                </a:extLst>
              </a:tr>
              <a:tr h="159418"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GTG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Tunu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96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145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extLst>
                  <a:ext uri="{0D108BD9-81ED-4DB2-BD59-A6C34878D82A}">
                    <a16:rowId xmlns:a16="http://schemas.microsoft.com/office/drawing/2014/main" val="3766957143"/>
                  </a:ext>
                </a:extLst>
              </a:tr>
              <a:tr h="159418"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AG Booster Compressor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Tunu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58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extLst>
                  <a:ext uri="{0D108BD9-81ED-4DB2-BD59-A6C34878D82A}">
                    <a16:rowId xmlns:a16="http://schemas.microsoft.com/office/drawing/2014/main" val="492384440"/>
                  </a:ext>
                </a:extLst>
              </a:tr>
              <a:tr h="159418"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Benisede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75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extLst>
                  <a:ext uri="{0D108BD9-81ED-4DB2-BD59-A6C34878D82A}">
                    <a16:rowId xmlns:a16="http://schemas.microsoft.com/office/drawing/2014/main" val="156093973"/>
                  </a:ext>
                </a:extLst>
              </a:tr>
              <a:tr h="159418"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Okpukushi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105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extLst>
                  <a:ext uri="{0D108BD9-81ED-4DB2-BD59-A6C34878D82A}">
                    <a16:rowId xmlns:a16="http://schemas.microsoft.com/office/drawing/2014/main" val="645104376"/>
                  </a:ext>
                </a:extLst>
              </a:tr>
              <a:tr h="159418"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Ogbotobo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64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extLst>
                  <a:ext uri="{0D108BD9-81ED-4DB2-BD59-A6C34878D82A}">
                    <a16:rowId xmlns:a16="http://schemas.microsoft.com/office/drawing/2014/main" val="931168404"/>
                  </a:ext>
                </a:extLst>
              </a:tr>
              <a:tr h="159418"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Total 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</a:rPr>
                        <a:t>531</a:t>
                      </a:r>
                      <a:endParaRPr lang="en-US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</a:rPr>
                        <a:t>932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extLst>
                  <a:ext uri="{0D108BD9-81ED-4DB2-BD59-A6C34878D82A}">
                    <a16:rowId xmlns:a16="http://schemas.microsoft.com/office/drawing/2014/main" val="2752215524"/>
                  </a:ext>
                </a:extLst>
              </a:tr>
            </a:tbl>
          </a:graphicData>
        </a:graphic>
      </p:graphicFrame>
      <p:sp>
        <p:nvSpPr>
          <p:cNvPr id="22" name="Rechteck 16"/>
          <p:cNvSpPr/>
          <p:nvPr>
            <p:custDataLst>
              <p:tags r:id="rId8"/>
            </p:custDataLst>
          </p:nvPr>
        </p:nvSpPr>
        <p:spPr bwMode="gray">
          <a:xfrm>
            <a:off x="460840" y="3637811"/>
            <a:ext cx="5854313" cy="212622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72000" rIns="90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F5F5F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rrent Condition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Rechteck 13">
            <a:extLst>
              <a:ext uri="{FF2B5EF4-FFF2-40B4-BE49-F238E27FC236}">
                <a16:creationId xmlns:a16="http://schemas.microsoft.com/office/drawing/2014/main" id="{B21AAD6B-19C2-42B6-9449-C0972CD04337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57177" y="2909296"/>
            <a:ext cx="5905236" cy="265099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72000" rIns="90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F5F5F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tential Benefits</a:t>
            </a:r>
          </a:p>
        </p:txBody>
      </p:sp>
    </p:spTree>
    <p:extLst>
      <p:ext uri="{BB962C8B-B14F-4D97-AF65-F5344CB8AC3E}">
        <p14:creationId xmlns:p14="http://schemas.microsoft.com/office/powerpoint/2010/main" val="250585622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se8SaWrU.uk3Dn2DAp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se8SaWrU.uk3Dn2DAp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se8SaWrU.uk3Dn2DAp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cYc.9zoUCU30PQ8A9U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se8SaWrU.uk3Dn2DApz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cYc.9zoUCU30PQ8A9U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cYc.9zoUCU30PQ8A9U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cYc.9zoUCU30PQ8A9U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cYc.9zoUCU30PQ8A9Uzg"/>
</p:tagLst>
</file>

<file path=ppt/theme/theme1.xml><?xml version="1.0" encoding="utf-8"?>
<a:theme xmlns:a="http://schemas.openxmlformats.org/drawingml/2006/main" name="Shell WizKit V3_Template_Widescreen_06July2016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>
            <a:solidFill>
              <a:srgbClr val="595959"/>
            </a:solidFill>
          </a:defRPr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33.potx" id="{DCB8EBDD-AD61-4D12-B9D8-0A71DB1F1C72}" vid="{6D69188D-DD7E-4D0E-8AB8-46CCC4C7C1FE}"/>
    </a:ext>
  </a:extLst>
</a:theme>
</file>

<file path=ppt/theme/theme2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ell_x0020_SharePoint_x0020_SAEF_x0020_LegalEntity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Shell Nigeria Exploration and Production Company Ltd.</TermName>
          <TermId xmlns="http://schemas.microsoft.com/office/infopath/2007/PartnerControls">a5eb3db0-3b75-40b6-84b1-63df177c6270</TermId>
        </TermInfo>
      </Terms>
    </Shell_x0020_SharePoint_x0020_SAEF_x0020_LegalEntityTaxHTField0>
    <Shell_x0020_SharePoint_x0020_SAEF_x0020_GlobalFun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ddce64fb-3cb8-4cd9-8e3d-0fe554247fd1</TermId>
        </TermInfo>
      </Terms>
    </Shell_x0020_SharePoint_x0020_SAEF_x0020_GlobalFunctionTaxHTField0>
    <Shell_x0020_SharePoint_x0020_SAEF_x0020_ExportControl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n-US content - Non Controlled</TermName>
          <TermId xmlns="http://schemas.microsoft.com/office/infopath/2007/PartnerControls">2ac8835e-0587-4096-a6e2-1f68da1e6cb3</TermId>
        </TermInfo>
      </Terms>
    </Shell_x0020_SharePoint_x0020_SAEF_x0020_ExportControlClassificationTaxHTField0>
    <_dlc_DocId xmlns="76b2635d-91ea-47f3-a708-f77e7aa7e91e">AFFAA0087-2-23172</_dlc_DocId>
    <TaxCatchAll xmlns="76b2635d-91ea-47f3-a708-f77e7aa7e91e">
      <Value>11</Value>
      <Value>10</Value>
      <Value>9</Value>
      <Value>8</Value>
      <Value>7</Value>
      <Value>6</Value>
      <Value>5</Value>
      <Value>4</Value>
      <Value>3</Value>
      <Value>2</Value>
      <Value>1</Value>
    </TaxCatchAll>
    <_dlc_DocIdUrl xmlns="76b2635d-91ea-47f3-a708-f77e7aa7e91e">
      <Url>https://nga001-sp.shell.com/sites/AFFAA0087/_layouts/15/DocIdRedir.aspx?ID=AFFAA0087-2-23172</Url>
      <Description>AFFAA0087-2-23172</Description>
    </_dlc_DocIdUrl>
    <Shell_x0020_SharePoint_x0020_SAEF_x0020_Languag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bd3ad5ee-f0c3-40aa-8cc8-36ef09940af3</TermId>
        </TermInfo>
      </Terms>
    </Shell_x0020_SharePoint_x0020_SAEF_x0020_LanguageTaxHTField0>
    <Shell_x0020_SharePoint_x0020_SAEF_x0020_CountryOfJurisdi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IGERIA</TermName>
          <TermId xmlns="http://schemas.microsoft.com/office/infopath/2007/PartnerControls">973e3eb3-a5f9-4712-a628-787e048af9f3</TermId>
        </TermInfo>
      </Terms>
    </Shell_x0020_SharePoint_x0020_SAEF_x0020_CountryOfJurisdictionTaxHTField0>
    <Shell_x0020_SharePoint_x0020_SAEF_x0020_Security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stricted</TermName>
          <TermId xmlns="http://schemas.microsoft.com/office/infopath/2007/PartnerControls">21aa7f98-4035-4019-a764-107acb7269af</TermId>
        </TermInfo>
      </Terms>
    </Shell_x0020_SharePoint_x0020_SAEF_x0020_SecurityClassificationTaxHTField0>
    <Shell_x0020_SharePoint_x0020_SAEF_x0020_BusinessUnitReg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Sub-Saharan Africa</TermName>
          <TermId xmlns="http://schemas.microsoft.com/office/infopath/2007/PartnerControls">9d13514c-804d-40ff-8e8a-f6825f62fb70</TermId>
        </TermInfo>
      </Terms>
    </Shell_x0020_SharePoint_x0020_SAEF_x0020_BusinessUnitRegionTaxHTField0>
    <Shell_x0020_SharePoint_x0020_SAEF_x0020_DocumentStatu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raft</TermName>
          <TermId xmlns="http://schemas.microsoft.com/office/infopath/2007/PartnerControls">1c86f377-7d91-4c95-bd5b-c18c83fe0aa5</TermId>
        </TermInfo>
      </Terms>
    </Shell_x0020_SharePoint_x0020_SAEF_x0020_DocumentStatusTaxHTField0>
    <Shell_x0020_SharePoint_x0020_SAEF_x0020_BusinessProc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All - Records Management</TermName>
          <TermId xmlns="http://schemas.microsoft.com/office/infopath/2007/PartnerControls">1f68a0f2-47ab-4887-8df5-7c0616d5ad90</TermId>
        </TermInfo>
      </Terms>
    </Shell_x0020_SharePoint_x0020_SAEF_x0020_BusinessProcessTaxHTField0>
    <Shell_x0020_SharePoint_x0020_SAEF_x0020_WorkgroupID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pstream _ Single File Plan - 22022</TermName>
          <TermId xmlns="http://schemas.microsoft.com/office/infopath/2007/PartnerControls">d3ed65c1-761d-4a84-a678-924ffd6ed182</TermId>
        </TermInfo>
      </Terms>
    </Shell_x0020_SharePoint_x0020_SAEF_x0020_WorkgroupIDTaxHTField0>
    <Shell_x0020_SharePoint_x0020_SAEF_x0020_Busin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pstream International</TermName>
          <TermId xmlns="http://schemas.microsoft.com/office/infopath/2007/PartnerControls">dabf15d9-4f75-4ed1-b8a1-a0c3e2a85888</TermId>
        </TermInfo>
      </Terms>
    </Shell_x0020_SharePoint_x0020_SAEF_x0020_BusinessTaxHTField0>
    <Folder_x0020_STRUCTURE xmlns="240baecd-ea58-46d2-9df0-c16a8c2148b5" xsi:nil="true"/>
    <Livelink_x0020_Instance_x0020_Column xmlns="240baecd-ea58-46d2-9df0-c16a8c2148b5" xsi:nil="true"/>
    <Global_x0020_Information_x0020_Attributes_Volume_Number xmlns="240baecd-ea58-46d2-9df0-c16a8c2148b5" xsi:nil="true"/>
    <Shell_x0020_SharePoint_x0020_SAEF_x0020_Collection xmlns="http://schemas.microsoft.com/sharepoint/v3">false</Shell_x0020_SharePoint_x0020_SAEF_x0020_Collection>
    <Global_x0020_Information_x0020_Attributes_Author xmlns="240baecd-ea58-46d2-9df0-c16a8c2148b5" xsi:nil="true"/>
    <Shell_x0020_SharePoint_x0020_SAEF_x0020_RecordStatus xmlns="http://schemas.microsoft.com/sharepoint/v3" xsi:nil="true"/>
    <Global_x0020_Information_x0020_Attributes_Status xmlns="240baecd-ea58-46d2-9df0-c16a8c2148b5">Published</Global_x0020_Information_x0020_Attributes_Status>
    <Global_x0020_Information_x0020_Attributes_Recipients xmlns="240baecd-ea58-46d2-9df0-c16a8c2148b5" xsi:nil="true"/>
    <IconOverlay xmlns="http://schemas.microsoft.com/sharepoint/v4" xsi:nil="true"/>
    <Global_x0020_Information_x0020_Attributes_Revision_Code xmlns="240baecd-ea58-46d2-9df0-c16a8c2148b5" xsi:nil="true"/>
    <Global_x0020_Information_x0020_Attributes_Organisation xmlns="240baecd-ea58-46d2-9df0-c16a8c2148b5" xsi:nil="true"/>
    <Global_x0020_Information_x0020_Attributes_Cross_References xmlns="240baecd-ea58-46d2-9df0-c16a8c2148b5" xsi:nil="true"/>
    <Shell_x0020_SharePoint_x0020_SAEF_x0020_FilePlanRecordType xmlns="http://schemas.microsoft.com/sharepoint/v3" xsi:nil="true"/>
    <Shell_x0020_SharePoint_x0020_SAEF_x0020_KeepFileLocal xmlns="http://schemas.microsoft.com/sharepoint/v3">false</Shell_x0020_SharePoint_x0020_SAEF_x0020_KeepFileLocal>
    <LivelinkID xmlns="240baecd-ea58-46d2-9df0-c16a8c2148b5" xsi:nil="true"/>
    <Global_x0020_Information_x0020_Attributes_Media xmlns="240baecd-ea58-46d2-9df0-c16a8c2148b5">Electronic File</Global_x0020_Information_x0020_Attributes_Media>
    <Global_x0020_Information_x0020_Attributes_Media_Location xmlns="240baecd-ea58-46d2-9df0-c16a8c2148b5">Livelink</Global_x0020_Information_x0020_Attributes_Media_Location>
    <Global_x0020_Information_x0020_Attributes_Language xmlns="240baecd-ea58-46d2-9df0-c16a8c2148b5">English</Global_x0020_Information_x0020_Attributes_Language>
    <Global_x0020_Information_x0020_Attributes_Document_Numbers xmlns="240baecd-ea58-46d2-9df0-c16a8c2148b5" xsi:nil="true"/>
    <Shell_x0020_SharePoint_x0020_SAEF_x0020_SiteOwner xmlns="http://schemas.microsoft.com/sharepoint/v3">i:0#.w|africa-me\bisi.t.banigbe</Shell_x0020_SharePoint_x0020_SAEF_x0020_SiteOwner>
    <Shell_x0020_SharePoint_x0020_SAEF_x0020_TRIMRecordNumber xmlns="http://schemas.microsoft.com/sharepoint/v3" xsi:nil="true"/>
    <Global_x0020_Information_x0020_Attributes_Issue_Date xmlns="240baecd-ea58-46d2-9df0-c16a8c2148b5" xsi:nil="true"/>
    <Shell_x0020_SharePoint_x0020_SAEF_x0020_IsRecord xmlns="http://schemas.microsoft.com/sharepoint/v3" xsi:nil="true"/>
    <Shell_x0020_SharePoint_x0020_SAEF_x0020_DocumentTypeTaxHTField0 xmlns="http://schemas.microsoft.com/sharepoint/v3">
      <Terms xmlns="http://schemas.microsoft.com/office/infopath/2007/PartnerControls"/>
    </Shell_x0020_SharePoint_x0020_SAEF_x0020_DocumentTypeTaxHTField0>
    <Shell_x0020_SharePoint_x0020_SAEF_x0020_SiteCollectionName xmlns="http://schemas.microsoft.com/sharepoint/v3">Bonga Operations, Teams/Disciplines Docs, BBIP, OI and Procedure Manuals 2</Shell_x0020_SharePoint_x0020_SAEF_x0020_SiteCollectionName>
    <Global_x0020_Information_x0020_Attributes_Review_Date xmlns="240baecd-ea58-46d2-9df0-c16a8c2148b5" xsi:nil="true"/>
    <Global_x0020_Information_x0020_Attributes_Owner xmlns="240baecd-ea58-46d2-9df0-c16a8c2148b5" xsi:nil="true"/>
    <Shell_x0020_SharePoint_x0020_SAEF_x0020_Owner xmlns="http://schemas.microsoft.com/sharepoint/v3" xsi:nil="true"/>
    <Shell_x0020_SharePoint_x0020_SAEF_x0020_Declarer xmlns="http://schemas.microsoft.com/sharepoint/v3" xsi:nil="true"/>
    <Shell_x0020_SharePoint_x0020_SAEF_x0020_AssetIdentifier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Shell Document" ma:contentTypeID="0x0101006F0A470EEB1140E7AA14F4CE8A50B54C0001CB1477F4DD432AA86DD56CC3887AF40083F4438B30117B448909F07DE48721FF" ma:contentTypeVersion="141" ma:contentTypeDescription="Shell Document Content Type" ma:contentTypeScope="" ma:versionID="05836e987f47ea0a37c214b30625b7a9">
  <xsd:schema xmlns:xsd="http://www.w3.org/2001/XMLSchema" xmlns:xs="http://www.w3.org/2001/XMLSchema" xmlns:p="http://schemas.microsoft.com/office/2006/metadata/properties" xmlns:ns1="http://schemas.microsoft.com/sharepoint/v3" xmlns:ns2="76b2635d-91ea-47f3-a708-f77e7aa7e91e" xmlns:ns4="240baecd-ea58-46d2-9df0-c16a8c2148b5" xmlns:ns5="http://schemas.microsoft.com/sharepoint/v4" targetNamespace="http://schemas.microsoft.com/office/2006/metadata/properties" ma:root="true" ma:fieldsID="6406ad327f273ab86b825e43615d546b" ns1:_="" ns2:_="" ns4:_="" ns5:_="">
    <xsd:import namespace="http://schemas.microsoft.com/sharepoint/v3"/>
    <xsd:import namespace="76b2635d-91ea-47f3-a708-f77e7aa7e91e"/>
    <xsd:import namespace="240baecd-ea58-46d2-9df0-c16a8c2148b5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_dlc_DocIdUrl" minOccurs="0"/>
                <xsd:element ref="ns1:Shell_x0020_SharePoint_x0020_SAEF_x0020_SecurityClassificationTaxHTField0" minOccurs="0"/>
                <xsd:element ref="ns1:Shell_x0020_SharePoint_x0020_SAEF_x0020_ExportControlClassificationTaxHTField0" minOccurs="0"/>
                <xsd:element ref="ns1:Shell_x0020_SharePoint_x0020_SAEF_x0020_DocumentStatusTaxHTField0" minOccurs="0"/>
                <xsd:element ref="ns1:Shell_x0020_SharePoint_x0020_SAEF_x0020_DocumentTypeTaxHTField0" minOccurs="0"/>
                <xsd:element ref="ns1:Shell_x0020_SharePoint_x0020_SAEF_x0020_Owner" minOccurs="0"/>
                <xsd:element ref="ns1:Shell_x0020_SharePoint_x0020_SAEF_x0020_BusinessTaxHTField0" minOccurs="0"/>
                <xsd:element ref="ns1:Shell_x0020_SharePoint_x0020_SAEF_x0020_BusinessUnitRegionTaxHTField0" minOccurs="0"/>
                <xsd:element ref="ns1:Shell_x0020_SharePoint_x0020_SAEF_x0020_GlobalFunctionTaxHTField0" minOccurs="0"/>
                <xsd:element ref="ns1:Shell_x0020_SharePoint_x0020_SAEF_x0020_BusinessProcessTaxHTField0" minOccurs="0"/>
                <xsd:element ref="ns1:Shell_x0020_SharePoint_x0020_SAEF_x0020_LegalEntityTaxHTField0" minOccurs="0"/>
                <xsd:element ref="ns1:Shell_x0020_SharePoint_x0020_SAEF_x0020_WorkgroupIDTaxHTField0" minOccurs="0"/>
                <xsd:element ref="ns1:Shell_x0020_SharePoint_x0020_SAEF_x0020_SiteCollectionName"/>
                <xsd:element ref="ns1:Shell_x0020_SharePoint_x0020_SAEF_x0020_SiteOwner"/>
                <xsd:element ref="ns1:Shell_x0020_SharePoint_x0020_SAEF_x0020_LanguageTaxHTField0" minOccurs="0"/>
                <xsd:element ref="ns1:Shell_x0020_SharePoint_x0020_SAEF_x0020_CountryOfJurisdictionTaxHTField0" minOccurs="0"/>
                <xsd:element ref="ns1:Shell_x0020_SharePoint_x0020_SAEF_x0020_Collection"/>
                <xsd:element ref="ns1:Shell_x0020_SharePoint_x0020_SAEF_x0020_KeepFileLocal"/>
                <xsd:element ref="ns1:Shell_x0020_SharePoint_x0020_SAEF_x0020_AssetIdentifier" minOccurs="0"/>
                <xsd:element ref="ns2:_dlc_DocId" minOccurs="0"/>
                <xsd:element ref="ns2:_dlc_DocIdPersistId" minOccurs="0"/>
                <xsd:element ref="ns1:Shell_x0020_SharePoint_x0020_SAEF_x0020_FilePlanRecordType" minOccurs="0"/>
                <xsd:element ref="ns1:Shell_x0020_SharePoint_x0020_SAEF_x0020_RecordStatus" minOccurs="0"/>
                <xsd:element ref="ns1:Shell_x0020_SharePoint_x0020_SAEF_x0020_Declarer" minOccurs="0"/>
                <xsd:element ref="ns1:Shell_x0020_SharePoint_x0020_SAEF_x0020_IsRecord" minOccurs="0"/>
                <xsd:element ref="ns1:Shell_x0020_SharePoint_x0020_SAEF_x0020_TRIMRecordNumber" minOccurs="0"/>
                <xsd:element ref="ns1:_dlc_Exempt" minOccurs="0"/>
                <xsd:element ref="ns1:_dlc_ExpireDateSaved" minOccurs="0"/>
                <xsd:element ref="ns1:_dlc_ExpireDate" minOccurs="0"/>
                <xsd:element ref="ns2:TaxCatchAll" minOccurs="0"/>
                <xsd:element ref="ns2:TaxCatchAllLabel" minOccurs="0"/>
                <xsd:element ref="ns1:AverageRating" minOccurs="0"/>
                <xsd:element ref="ns1:RatingCount" minOccurs="0"/>
                <xsd:element ref="ns4:LivelinkID" minOccurs="0"/>
                <xsd:element ref="ns4:Folder_x0020_STRUCTURE" minOccurs="0"/>
                <xsd:element ref="ns4:Livelink_x0020_Instance_x0020_Column" minOccurs="0"/>
                <xsd:element ref="ns4:Global_x0020_Information_x0020_Attributes_Issue_Date" minOccurs="0"/>
                <xsd:element ref="ns4:Global_x0020_Information_x0020_Attributes_Review_Date" minOccurs="0"/>
                <xsd:element ref="ns4:Global_x0020_Information_x0020_Attributes_Author" minOccurs="0"/>
                <xsd:element ref="ns4:Global_x0020_Information_x0020_Attributes_Owner" minOccurs="0"/>
                <xsd:element ref="ns4:Global_x0020_Information_x0020_Attributes_Organisation" minOccurs="0"/>
                <xsd:element ref="ns4:Global_x0020_Information_x0020_Attributes_Recipients" minOccurs="0"/>
                <xsd:element ref="ns4:Global_x0020_Information_x0020_Attributes_Document_Numbers" minOccurs="0"/>
                <xsd:element ref="ns4:Global_x0020_Information_x0020_Attributes_Cross_References" minOccurs="0"/>
                <xsd:element ref="ns4:Global_x0020_Information_x0020_Attributes_Status" minOccurs="0"/>
                <xsd:element ref="ns4:Global_x0020_Information_x0020_Attributes_Revision_Code" minOccurs="0"/>
                <xsd:element ref="ns4:Global_x0020_Information_x0020_Attributes_Media" minOccurs="0"/>
                <xsd:element ref="ns4:Global_x0020_Information_x0020_Attributes_Media_Location" minOccurs="0"/>
                <xsd:element ref="ns4:Global_x0020_Information_x0020_Attributes_Language" minOccurs="0"/>
                <xsd:element ref="ns4:Global_x0020_Information_x0020_Attributes_Volume_Number" minOccurs="0"/>
                <xsd:element ref="ns5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Shell_x0020_SharePoint_x0020_SAEF_x0020_SecurityClassificationTaxHTField0" ma:index="3" ma:taxonomy="true" ma:internalName="Shell_x0020_SharePoint_x0020_SAEF_x0020_SecurityClassificationTaxHTField0" ma:taxonomyFieldName="Shell_x0020_SharePoint_x0020_SAEF_x0020_SecurityClassification" ma:displayName="Security Classification" ma:default="8;#Restricted|21aa7f98-4035-4019-a764-107acb7269af" ma:fieldId="{2ce2f798-4e95-48f9-a317-73f854109466}" ma:sspId="b9f46dd1-24cc-42ee-81c0-d22fe755409c" ma:termSetId="daf890f0-167e-4ee2-a9fd-a81536ed816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ExportControlClassificationTaxHTField0" ma:index="5" ma:taxonomy="true" ma:internalName="Shell_x0020_SharePoint_x0020_SAEF_x0020_ExportControlClassificationTaxHTField0" ma:taxonomyFieldName="Shell_x0020_SharePoint_x0020_SAEF_x0020_ExportControlClassification" ma:displayName="Export Control" ma:default="9;#Non-US content - Non Controlled|2ac8835e-0587-4096-a6e2-1f68da1e6cb3" ma:fieldId="{334f96ae-8e6f-4bca-bd92-9698e8369ad6}" ma:sspId="b9f46dd1-24cc-42ee-81c0-d22fe755409c" ma:termSetId="0a37200c-155d-4bd2-8a71-6ee4023d1a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DocumentStatusTaxHTField0" ma:index="7" ma:taxonomy="true" ma:internalName="Shell_x0020_SharePoint_x0020_SAEF_x0020_DocumentStatusTaxHTField0" ma:taxonomyFieldName="Shell_x0020_SharePoint_x0020_SAEF_x0020_DocumentStatus" ma:displayName="Document Status" ma:default="11;#Draft|1c86f377-7d91-4c95-bd5b-c18c83fe0aa5" ma:fieldId="{627a77c6-2170-43dd-a0ef-eb6a3870ea75}" ma:sspId="b9f46dd1-24cc-42ee-81c0-d22fe755409c" ma:termSetId="935aba77-d2cb-414d-bb70-87b73a0515d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DocumentTypeTaxHTField0" ma:index="9" nillable="true" ma:taxonomy="true" ma:internalName="Shell_x0020_SharePoint_x0020_SAEF_x0020_DocumentTypeTaxHTField0" ma:taxonomyFieldName="Shell_x0020_SharePoint_x0020_SAEF_x0020_DocumentType" ma:displayName="Document Type" ma:readOnly="false" ma:default="" ma:fieldId="{566fdc14-b4fa-46ee-a88e-e2aac7ad2eac}" ma:sspId="b9f46dd1-24cc-42ee-81c0-d22fe755409c" ma:termSetId="c44bbaaa-530b-481e-814c-1a89fe9de40e" ma:anchorId="352dd3f6-c8ee-4c48-93af-e62c944275c3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Owner" ma:index="12" nillable="true" ma:displayName="Owner" ma:internalName="Shell_x0020_SharePoint_x0020_SAEF_x0020_Owner">
      <xsd:simpleType>
        <xsd:restriction base="dms:Text"/>
      </xsd:simpleType>
    </xsd:element>
    <xsd:element name="Shell_x0020_SharePoint_x0020_SAEF_x0020_BusinessTaxHTField0" ma:index="13" ma:taxonomy="true" ma:internalName="Shell_x0020_SharePoint_x0020_SAEF_x0020_BusinessTaxHTField0" ma:taxonomyFieldName="Shell_x0020_SharePoint_x0020_SAEF_x0020_Business" ma:displayName="Business" ma:default="1;#Upstream International|dabf15d9-4f75-4ed1-b8a1-a0c3e2a85888" ma:fieldId="{0d7acb72-5c17-4ee6-b184-d60d15597f6a}" ma:sspId="b9f46dd1-24cc-42ee-81c0-d22fe755409c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BusinessUnitRegionTaxHTField0" ma:index="15" ma:taxonomy="true" ma:internalName="Shell_x0020_SharePoint_x0020_SAEF_x0020_BusinessUnitRegionTaxHTField0" ma:taxonomyFieldName="Shell_x0020_SharePoint_x0020_SAEF_x0020_BusinessUnitRegion" ma:displayName="Business Unit/Region" ma:default="2;#Sub-Saharan Africa|9d13514c-804d-40ff-8e8a-f6825f62fb70" ma:fieldId="{98984985-015b-4079-8918-b5a01b45e4b3}" ma:sspId="b9f46dd1-24cc-42ee-81c0-d22fe755409c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GlobalFunctionTaxHTField0" ma:index="17" ma:taxonomy="true" ma:internalName="Shell_x0020_SharePoint_x0020_SAEF_x0020_GlobalFunctionTaxHTField0" ma:taxonomyFieldName="Shell_x0020_SharePoint_x0020_SAEF_x0020_GlobalFunction" ma:displayName="Business Function" ma:default="3;#Not Applicable|ddce64fb-3cb8-4cd9-8e3d-0fe554247fd1" ma:fieldId="{1284211f-8330-48b1-a5cc-ec1f0d9b0f7a}" ma:sspId="b9f46dd1-24cc-42ee-81c0-d22fe755409c" ma:termSetId="354c4cc3-2d4b-4608-9bbd-a538d7fca2d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BusinessProcessTaxHTField0" ma:index="19" nillable="true" ma:taxonomy="true" ma:internalName="Shell_x0020_SharePoint_x0020_SAEF_x0020_BusinessProcessTaxHTField0" ma:taxonomyFieldName="Shell_x0020_SharePoint_x0020_SAEF_x0020_BusinessProcess" ma:displayName="Business Process" ma:default="10;#All - Records Management|1f68a0f2-47ab-4887-8df5-7c0616d5ad90" ma:fieldId="{f7493bb9-5348-44de-a787-5c9f505950a2}" ma:sspId="b9f46dd1-24cc-42ee-81c0-d22fe755409c" ma:termSetId="f105a133-66fc-4406-afa4-8b472c9cdbb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LegalEntityTaxHTField0" ma:index="21" ma:taxonomy="true" ma:internalName="Shell_x0020_SharePoint_x0020_SAEF_x0020_LegalEntityTaxHTField0" ma:taxonomyFieldName="Shell_x0020_SharePoint_x0020_SAEF_x0020_LegalEntity" ma:displayName="Legal Entity" ma:default="4;#Shell Nigeria Exploration and Production Company Ltd.|a5eb3db0-3b75-40b6-84b1-63df177c6270" ma:fieldId="{529dd253-148e-4d10-9b8c-1444f6695d3b}" ma:sspId="b9f46dd1-24cc-42ee-81c0-d22fe755409c" ma:termSetId="94b6dd6e-4329-4f68-907b-ed5bdd50f8a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WorkgroupIDTaxHTField0" ma:index="23" ma:taxonomy="true" ma:internalName="Shell_x0020_SharePoint_x0020_SAEF_x0020_WorkgroupIDTaxHTField0" ma:taxonomyFieldName="Shell_x0020_SharePoint_x0020_SAEF_x0020_WorkgroupID" ma:displayName="TRIM Workgroup" ma:default="5;#Upstream _ Single File Plan - 22022|d3ed65c1-761d-4a84-a678-924ffd6ed182" ma:fieldId="{c47cabfe-a1bc-4e26-91b8-d95c8ce41647}" ma:sspId="b9f46dd1-24cc-42ee-81c0-d22fe755409c" ma:termSetId="85736b86-0546-4c3b-b21c-7ab07eee056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SiteCollectionName" ma:index="25" ma:displayName="Site Collection Name" ma:default="Bonga Operations, Teams/Disciplines Docs, BBIP, OI and Procedure Manuals 2" ma:hidden="true" ma:internalName="Shell_x0020_SharePoint_x0020_SAEF_x0020_SiteCollectionName">
      <xsd:simpleType>
        <xsd:restriction base="dms:Text"/>
      </xsd:simpleType>
    </xsd:element>
    <xsd:element name="Shell_x0020_SharePoint_x0020_SAEF_x0020_SiteOwner" ma:index="26" ma:displayName="Site Owner" ma:default="i:0#.w|africa-me\bisi.t.banigbe" ma:hidden="true" ma:internalName="Shell_x0020_SharePoint_x0020_SAEF_x0020_SiteOwner">
      <xsd:simpleType>
        <xsd:restriction base="dms:Text"/>
      </xsd:simpleType>
    </xsd:element>
    <xsd:element name="Shell_x0020_SharePoint_x0020_SAEF_x0020_LanguageTaxHTField0" ma:index="27" ma:taxonomy="true" ma:internalName="Shell_x0020_SharePoint_x0020_SAEF_x0020_LanguageTaxHTField0" ma:taxonomyFieldName="Shell_x0020_SharePoint_x0020_SAEF_x0020_Language" ma:displayName="Language" ma:default="6;#English|bd3ad5ee-f0c3-40aa-8cc8-36ef09940af3" ma:fieldId="{a99e316a-5158-4b34-9a98-5674ef8a1639}" ma:sspId="b9f46dd1-24cc-42ee-81c0-d22fe755409c" ma:termSetId="b2561cd2-09b2-4dce-b5be-021768df6d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CountryOfJurisdictionTaxHTField0" ma:index="29" ma:taxonomy="true" ma:internalName="Shell_x0020_SharePoint_x0020_SAEF_x0020_CountryOfJurisdictionTaxHTField0" ma:taxonomyFieldName="Shell_x0020_SharePoint_x0020_SAEF_x0020_CountryOfJurisdiction" ma:displayName="Country of Jurisdiction" ma:default="7;#NIGERIA|973e3eb3-a5f9-4712-a628-787e048af9f3" ma:fieldId="{dc07035f-7987-48f5-ba88-2d29e2b62c9e}" ma:sspId="b9f46dd1-24cc-42ee-81c0-d22fe755409c" ma:termSetId="a560ecad-89fd-4dcd-adad-4e15e7baec5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Collection" ma:index="31" ma:displayName="Collection" ma:default="0" ma:hidden="true" ma:internalName="Shell_x0020_SharePoint_x0020_SAEF_x0020_Collection">
      <xsd:simpleType>
        <xsd:restriction base="dms:Boolean"/>
      </xsd:simpleType>
    </xsd:element>
    <xsd:element name="Shell_x0020_SharePoint_x0020_SAEF_x0020_KeepFileLocal" ma:index="32" ma:displayName="Keep File Local" ma:default="0" ma:hidden="true" ma:internalName="Shell_x0020_SharePoint_x0020_SAEF_x0020_KeepFileLocal" ma:readOnly="false">
      <xsd:simpleType>
        <xsd:restriction base="dms:Boolean"/>
      </xsd:simpleType>
    </xsd:element>
    <xsd:element name="Shell_x0020_SharePoint_x0020_SAEF_x0020_AssetIdentifier" ma:index="33" nillable="true" ma:displayName="Asset Identifier" ma:hidden="true" ma:internalName="Shell_x0020_SharePoint_x0020_SAEF_x0020_AssetIdentifier">
      <xsd:simpleType>
        <xsd:restriction base="dms:Text"/>
      </xsd:simpleType>
    </xsd:element>
    <xsd:element name="Shell_x0020_SharePoint_x0020_SAEF_x0020_FilePlanRecordType" ma:index="42" nillable="true" ma:displayName="File Plan Record Type" ma:hidden="true" ma:internalName="Shell_x0020_SharePoint_x0020_SAEF_x0020_FilePlanRecordType">
      <xsd:simpleType>
        <xsd:restriction base="dms:Text"/>
      </xsd:simpleType>
    </xsd:element>
    <xsd:element name="Shell_x0020_SharePoint_x0020_SAEF_x0020_RecordStatus" ma:index="43" nillable="true" ma:displayName="Record Status" ma:hidden="true" ma:internalName="Shell_x0020_SharePoint_x0020_SAEF_x0020_RecordStatus">
      <xsd:simpleType>
        <xsd:restriction base="dms:Text"/>
      </xsd:simpleType>
    </xsd:element>
    <xsd:element name="Shell_x0020_SharePoint_x0020_SAEF_x0020_Declarer" ma:index="44" nillable="true" ma:displayName="Declarer" ma:hidden="true" ma:internalName="Shell_x0020_SharePoint_x0020_SAEF_x0020_Declarer">
      <xsd:simpleType>
        <xsd:restriction base="dms:Text"/>
      </xsd:simpleType>
    </xsd:element>
    <xsd:element name="Shell_x0020_SharePoint_x0020_SAEF_x0020_IsRecord" ma:index="45" nillable="true" ma:displayName="Is Record" ma:hidden="true" ma:internalName="Shell_x0020_SharePoint_x0020_SAEF_x0020_IsRecord">
      <xsd:simpleType>
        <xsd:restriction base="dms:Text"/>
      </xsd:simpleType>
    </xsd:element>
    <xsd:element name="Shell_x0020_SharePoint_x0020_SAEF_x0020_TRIMRecordNumber" ma:index="46" nillable="true" ma:displayName="TRIM Record Number" ma:hidden="true" ma:internalName="Shell_x0020_SharePoint_x0020_SAEF_x0020_TRIMRecordNumber">
      <xsd:simpleType>
        <xsd:restriction base="dms:Text"/>
      </xsd:simpleType>
    </xsd:element>
    <xsd:element name="_dlc_Exempt" ma:index="47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48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49" nillable="true" ma:displayName="Expiration Date" ma:description="" ma:hidden="true" ma:indexed="true" ma:internalName="_dlc_ExpireDate" ma:readOnly="true">
      <xsd:simpleType>
        <xsd:restriction base="dms:DateTime"/>
      </xsd:simpleType>
    </xsd:element>
    <xsd:element name="AverageRating" ma:index="52" nillable="true" ma:displayName="Rating (0-5)" ma:decimals="2" ma:description="Average value of all the ratings that have been submitted" ma:hidden="true" ma:internalName="AverageRating" ma:readOnly="true">
      <xsd:simpleType>
        <xsd:restriction base="dms:Number"/>
      </xsd:simpleType>
    </xsd:element>
    <xsd:element name="RatingCount" ma:index="53" nillable="true" ma:displayName="Number of Ratings" ma:decimals="0" ma:description="Number of ratings submitted" ma:hidden="true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b2635d-91ea-47f3-a708-f77e7aa7e91e" elementFormDefault="qualified">
    <xsd:import namespace="http://schemas.microsoft.com/office/2006/documentManagement/types"/>
    <xsd:import namespace="http://schemas.microsoft.com/office/infopath/2007/PartnerControls"/>
    <xsd:element name="_dlc_DocIdUrl" ma:index="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" ma:index="3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PersistId" ma:index="41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50" nillable="true" ma:displayName="Taxonomy Catch All Column" ma:description="" ma:hidden="true" ma:list="{0f0fbcba-9a94-4eec-a3d0-61bd4ebfe040}" ma:internalName="TaxCatchAll" ma:showField="CatchAllData" ma:web="76b2635d-91ea-47f3-a708-f77e7aa7e9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51" nillable="true" ma:displayName="Taxonomy Catch All Column1" ma:description="" ma:hidden="true" ma:list="{0f0fbcba-9a94-4eec-a3d0-61bd4ebfe040}" ma:internalName="TaxCatchAllLabel" ma:readOnly="true" ma:showField="CatchAllDataLabel" ma:web="76b2635d-91ea-47f3-a708-f77e7aa7e9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0baecd-ea58-46d2-9df0-c16a8c2148b5" elementFormDefault="qualified">
    <xsd:import namespace="http://schemas.microsoft.com/office/2006/documentManagement/types"/>
    <xsd:import namespace="http://schemas.microsoft.com/office/infopath/2007/PartnerControls"/>
    <xsd:element name="LivelinkID" ma:index="54" nillable="true" ma:displayName="LivelinkID" ma:hidden="true" ma:indexed="true" ma:internalName="LivelinkID" ma:readOnly="false">
      <xsd:simpleType>
        <xsd:restriction base="dms:Text"/>
      </xsd:simpleType>
    </xsd:element>
    <xsd:element name="Folder_x0020_STRUCTURE" ma:index="55" nillable="true" ma:displayName="Folder STRUCTURE" ma:hidden="true" ma:internalName="Folder_x0020_STRUCTURE" ma:readOnly="false">
      <xsd:simpleType>
        <xsd:restriction base="dms:Text"/>
      </xsd:simpleType>
    </xsd:element>
    <xsd:element name="Livelink_x0020_Instance_x0020_Column" ma:index="56" nillable="true" ma:displayName="Livelink Instance Column" ma:hidden="true" ma:internalName="Livelink_x0020_Instance_x0020_Column" ma:readOnly="false">
      <xsd:simpleType>
        <xsd:restriction base="dms:Text"/>
      </xsd:simpleType>
    </xsd:element>
    <xsd:element name="Global_x0020_Information_x0020_Attributes_Issue_Date" ma:index="57" nillable="true" ma:displayName="Global Information Attributes_Issue_Date" ma:format="DateOnly" ma:hidden="true" ma:internalName="Global_x0020_Information_x0020_Attributes_Issue_Date" ma:readOnly="false">
      <xsd:simpleType>
        <xsd:restriction base="dms:DateTime"/>
      </xsd:simpleType>
    </xsd:element>
    <xsd:element name="Global_x0020_Information_x0020_Attributes_Review_Date" ma:index="58" nillable="true" ma:displayName="Global Information Attributes_Review_Date" ma:format="DateOnly" ma:hidden="true" ma:internalName="Global_x0020_Information_x0020_Attributes_Review_Date" ma:readOnly="false">
      <xsd:simpleType>
        <xsd:restriction base="dms:DateTime"/>
      </xsd:simpleType>
    </xsd:element>
    <xsd:element name="Global_x0020_Information_x0020_Attributes_Author" ma:index="59" nillable="true" ma:displayName="Global Information Attributes_Author" ma:hidden="true" ma:internalName="Global_x0020_Information_x0020_Attributes_Author" ma:readOnly="false">
      <xsd:simpleType>
        <xsd:restriction base="dms:Note"/>
      </xsd:simpleType>
    </xsd:element>
    <xsd:element name="Global_x0020_Information_x0020_Attributes_Owner" ma:index="60" nillable="true" ma:displayName="Global Information Attributes_Owner" ma:hidden="true" ma:internalName="Global_x0020_Information_x0020_Attributes_Owner" ma:readOnly="false">
      <xsd:simpleType>
        <xsd:restriction base="dms:Text"/>
      </xsd:simpleType>
    </xsd:element>
    <xsd:element name="Global_x0020_Information_x0020_Attributes_Organisation" ma:index="61" nillable="true" ma:displayName="Global Information Attributes_Organisation" ma:hidden="true" ma:internalName="Global_x0020_Information_x0020_Attributes_Organisation" ma:readOnly="false">
      <xsd:simpleType>
        <xsd:restriction base="dms:Text"/>
      </xsd:simpleType>
    </xsd:element>
    <xsd:element name="Global_x0020_Information_x0020_Attributes_Recipients" ma:index="62" nillable="true" ma:displayName="Global Information Attributes_Recipients" ma:hidden="true" ma:internalName="Global_x0020_Information_x0020_Attributes_Recipients" ma:readOnly="false">
      <xsd:simpleType>
        <xsd:restriction base="dms:Note"/>
      </xsd:simpleType>
    </xsd:element>
    <xsd:element name="Global_x0020_Information_x0020_Attributes_Document_Numbers" ma:index="63" nillable="true" ma:displayName="Global Information Attributes_Document_Numbers" ma:hidden="true" ma:internalName="Global_x0020_Information_x0020_Attributes_Document_Numbers" ma:readOnly="false">
      <xsd:simpleType>
        <xsd:restriction base="dms:Note"/>
      </xsd:simpleType>
    </xsd:element>
    <xsd:element name="Global_x0020_Information_x0020_Attributes_Cross_References" ma:index="64" nillable="true" ma:displayName="Global Information Attributes_Cross_References" ma:hidden="true" ma:internalName="Global_x0020_Information_x0020_Attributes_Cross_References" ma:readOnly="false">
      <xsd:simpleType>
        <xsd:restriction base="dms:Note"/>
      </xsd:simpleType>
    </xsd:element>
    <xsd:element name="Global_x0020_Information_x0020_Attributes_Status" ma:index="65" nillable="true" ma:displayName="Global Information Attributes_Status" ma:default="Published" ma:hidden="true" ma:internalName="Global_x0020_Information_x0020_Attributes_Status" ma:readOnly="false">
      <xsd:simpleType>
        <xsd:restriction base="dms:Choice">
          <xsd:enumeration value="Published"/>
          <xsd:enumeration value="Draft"/>
          <xsd:enumeration value="Obsolete"/>
          <xsd:enumeration value="Active"/>
          <xsd:enumeration value="Approved"/>
          <xsd:enumeration value="Approved For Construction"/>
          <xsd:enumeration value="As-Built"/>
          <xsd:enumeration value="Closed"/>
          <xsd:enumeration value="Information Only"/>
          <xsd:enumeration value="Open"/>
          <xsd:enumeration value="Preliminary"/>
          <xsd:enumeration value="Void"/>
        </xsd:restriction>
      </xsd:simpleType>
    </xsd:element>
    <xsd:element name="Global_x0020_Information_x0020_Attributes_Revision_Code" ma:index="66" nillable="true" ma:displayName="Global Information Attributes_Revision_Code" ma:hidden="true" ma:internalName="Global_x0020_Information_x0020_Attributes_Revision_Code" ma:readOnly="false">
      <xsd:simpleType>
        <xsd:restriction base="dms:Text"/>
      </xsd:simpleType>
    </xsd:element>
    <xsd:element name="Global_x0020_Information_x0020_Attributes_Media" ma:index="67" nillable="true" ma:displayName="Global Information Attributes_Media" ma:default="Electronic File" ma:hidden="true" ma:internalName="Global_x0020_Information_x0020_Attributes_Media" ma:readOnly="false">
      <xsd:simpleType>
        <xsd:restriction base="dms:Choice">
          <xsd:enumeration value="Audio"/>
          <xsd:enumeration value="Cassette"/>
          <xsd:enumeration value="CD-ROM"/>
          <xsd:enumeration value="Disk"/>
          <xsd:enumeration value="Film"/>
          <xsd:enumeration value="Electronic File"/>
          <xsd:enumeration value="Microform"/>
          <xsd:enumeration value="Paper"/>
          <xsd:enumeration value="Photograph"/>
          <xsd:enumeration value="Radiograph"/>
          <xsd:enumeration value="Tape"/>
          <xsd:enumeration value="Video"/>
        </xsd:restriction>
      </xsd:simpleType>
    </xsd:element>
    <xsd:element name="Global_x0020_Information_x0020_Attributes_Media_Location" ma:index="68" nillable="true" ma:displayName="Global Information Attributes_Media_Location" ma:default="Livelink" ma:hidden="true" ma:internalName="Global_x0020_Information_x0020_Attributes_Media_Location" ma:readOnly="false">
      <xsd:simpleType>
        <xsd:restriction base="dms:Note"/>
      </xsd:simpleType>
    </xsd:element>
    <xsd:element name="Global_x0020_Information_x0020_Attributes_Language" ma:index="69" nillable="true" ma:displayName="Global Information Attributes_Language" ma:default="English" ma:hidden="true" ma:internalName="Global_x0020_Information_x0020_Attributes_Language" ma:readOnly="false">
      <xsd:simpleType>
        <xsd:restriction base="dms:Choice">
          <xsd:enumeration value="English"/>
          <xsd:enumeration value="French"/>
          <xsd:enumeration value="German"/>
          <xsd:enumeration value="Italian"/>
          <xsd:enumeration value="Spanish"/>
          <xsd:enumeration value="Dutch"/>
          <xsd:enumeration value="Norwegian"/>
          <xsd:enumeration value="Chinese"/>
          <xsd:enumeration value="Russian"/>
          <xsd:enumeration value="Finnish"/>
        </xsd:restriction>
      </xsd:simpleType>
    </xsd:element>
    <xsd:element name="Global_x0020_Information_x0020_Attributes_Volume_Number" ma:index="70" nillable="true" ma:displayName="Global Information Attributes_Volume_Number" ma:hidden="true" ma:internalName="Global_x0020_Information_x0020_Attributes_Volume_Number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71" nillable="true" ma:displayName="IconOverlay" ma:hidden="true" ma:internalName="IconOverlay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11" ma:displayName="Author"/>
        <xsd:element ref="dcterms:created" minOccurs="0" maxOccurs="1"/>
        <xsd:element ref="dc:identifier" minOccurs="0" maxOccurs="1"/>
        <xsd:element name="contentType" minOccurs="0" maxOccurs="1" type="xsd:string" ma:index="40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PolicyDirtyBag xmlns="microsoft.office.server.policy.changes">
  <Microsoft.Office.RecordsManagement.PolicyFeatures.Expiration op="Change"/>
</PolicyDirtyBag>
</file>

<file path=customXml/item5.xml><?xml version="1.0" encoding="utf-8"?>
<?mso-contentType ?>
<p:Policy xmlns:p="office.server.policy" id="" local="true">
  <p:Name>Shell Document Base</p:Name>
  <p:Description/>
  <p:Statement/>
  <p:PolicyItems/>
</p:Policy>
</file>

<file path=customXml/item6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5.0.0.0, Culture=neutral, PublicKeyToken=71e9bce111e9429c</Assembly>
    <Class>Microsoft.Office.RecordsManagement.Internal.UpdateExpireDate</Class>
    <Data/>
    <Filter/>
  </Receiver>
</spe:Receivers>
</file>

<file path=customXml/itemProps1.xml><?xml version="1.0" encoding="utf-8"?>
<ds:datastoreItem xmlns:ds="http://schemas.openxmlformats.org/officeDocument/2006/customXml" ds:itemID="{C09B8FDC-A2C7-4742-93D8-648566A74B4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0F49773-A34A-4E8D-8CB0-9679838A1DED}">
  <ds:schemaRefs>
    <ds:schemaRef ds:uri="http://purl.org/dc/elements/1.1/"/>
    <ds:schemaRef ds:uri="http://schemas.microsoft.com/office/2006/metadata/properties"/>
    <ds:schemaRef ds:uri="http://schemas.microsoft.com/sharepoint/v3"/>
    <ds:schemaRef ds:uri="http://schemas.microsoft.com/sharepoint/v4"/>
    <ds:schemaRef ds:uri="http://purl.org/dc/terms/"/>
    <ds:schemaRef ds:uri="http://schemas.openxmlformats.org/package/2006/metadata/core-properties"/>
    <ds:schemaRef ds:uri="240baecd-ea58-46d2-9df0-c16a8c2148b5"/>
    <ds:schemaRef ds:uri="http://schemas.microsoft.com/office/2006/documentManagement/types"/>
    <ds:schemaRef ds:uri="http://schemas.microsoft.com/office/infopath/2007/PartnerControls"/>
    <ds:schemaRef ds:uri="76b2635d-91ea-47f3-a708-f77e7aa7e91e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C1D097A-EB55-4725-B34B-64D252AD39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6b2635d-91ea-47f3-a708-f77e7aa7e91e"/>
    <ds:schemaRef ds:uri="240baecd-ea58-46d2-9df0-c16a8c2148b5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3DAE854D-8390-4FDA-A6D8-D1EBAC1EB608}">
  <ds:schemaRefs>
    <ds:schemaRef ds:uri="microsoft.office.server.policy.changes"/>
  </ds:schemaRefs>
</ds:datastoreItem>
</file>

<file path=customXml/itemProps5.xml><?xml version="1.0" encoding="utf-8"?>
<ds:datastoreItem xmlns:ds="http://schemas.openxmlformats.org/officeDocument/2006/customXml" ds:itemID="{2B409C99-8186-4275-BE8F-9B98FE367C2F}">
  <ds:schemaRefs>
    <ds:schemaRef ds:uri="office.server.policy"/>
  </ds:schemaRefs>
</ds:datastoreItem>
</file>

<file path=customXml/itemProps6.xml><?xml version="1.0" encoding="utf-8"?>
<ds:datastoreItem xmlns:ds="http://schemas.openxmlformats.org/officeDocument/2006/customXml" ds:itemID="{3BBA21E6-CC8B-4B8D-B9BA-608E05B30159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hell WizKit V3_Template_Widescreen_06July2016</Template>
  <TotalTime>18004</TotalTime>
  <Words>257</Words>
  <Application>Microsoft Office PowerPoint</Application>
  <PresentationFormat>Widescreen</PresentationFormat>
  <Paragraphs>97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Futura Bold</vt:lpstr>
      <vt:lpstr>Calibri</vt:lpstr>
      <vt:lpstr>Futura Medium</vt:lpstr>
      <vt:lpstr>Wingdings</vt:lpstr>
      <vt:lpstr>Arial</vt:lpstr>
      <vt:lpstr>Shell WizKit V3_Template_Widescreen_06July2016</vt:lpstr>
      <vt:lpstr>PowerPoint Presentation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presentation title  Second title line if required</dc:title>
  <dc:creator>Offshore ORIP FP and Reliability</dc:creator>
  <cp:lastModifiedBy>Odega, Israel SPDC-UPC/G/UW</cp:lastModifiedBy>
  <cp:revision>551</cp:revision>
  <cp:lastPrinted>2020-02-17T09:13:11Z</cp:lastPrinted>
  <dcterms:created xsi:type="dcterms:W3CDTF">2016-07-28T12:15:00Z</dcterms:created>
  <dcterms:modified xsi:type="dcterms:W3CDTF">2020-05-04T07:1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4</vt:i4>
  </property>
  <property fmtid="{D5CDD505-2E9C-101B-9397-08002B2CF9AE}" pid="4" name="_dlc_policyId">
    <vt:lpwstr/>
  </property>
  <property fmtid="{D5CDD505-2E9C-101B-9397-08002B2CF9AE}" pid="5" name="ContentTypeId">
    <vt:lpwstr>0x0101006F0A470EEB1140E7AA14F4CE8A50B54C0001CB1477F4DD432AA86DD56CC3887AF40083F4438B30117B448909F07DE48721FF</vt:lpwstr>
  </property>
  <property fmtid="{D5CDD505-2E9C-101B-9397-08002B2CF9AE}" pid="6" name="ItemRetentionFormula">
    <vt:lpwstr/>
  </property>
  <property fmtid="{D5CDD505-2E9C-101B-9397-08002B2CF9AE}" pid="7" name="_dlc_DocIdItemGuid">
    <vt:lpwstr>479d5564-b5f7-4ddc-9524-9c84da665c0b</vt:lpwstr>
  </property>
  <property fmtid="{D5CDD505-2E9C-101B-9397-08002B2CF9AE}" pid="8" name="Shell SharePoint SAEF SecurityClassification">
    <vt:lpwstr>8;#Restricted|21aa7f98-4035-4019-a764-107acb7269af</vt:lpwstr>
  </property>
  <property fmtid="{D5CDD505-2E9C-101B-9397-08002B2CF9AE}" pid="9" name="Shell SharePoint SAEF LegalEntity">
    <vt:lpwstr>4;#Shell Nigeria Exploration and Production Company Ltd.|a5eb3db0-3b75-40b6-84b1-63df177c6270</vt:lpwstr>
  </property>
  <property fmtid="{D5CDD505-2E9C-101B-9397-08002B2CF9AE}" pid="10" name="Shell SharePoint SAEF GlobalFunction">
    <vt:lpwstr>3;#Not Applicable|ddce64fb-3cb8-4cd9-8e3d-0fe554247fd1</vt:lpwstr>
  </property>
  <property fmtid="{D5CDD505-2E9C-101B-9397-08002B2CF9AE}" pid="11" name="Shell SharePoint SAEF BusinessUnitRegion">
    <vt:lpwstr>2;#Sub-Saharan Africa|9d13514c-804d-40ff-8e8a-f6825f62fb70</vt:lpwstr>
  </property>
  <property fmtid="{D5CDD505-2E9C-101B-9397-08002B2CF9AE}" pid="12" name="Shell SharePoint SAEF WorkgroupID">
    <vt:lpwstr>5;#Upstream _ Single File Plan - 22022|d3ed65c1-761d-4a84-a678-924ffd6ed182</vt:lpwstr>
  </property>
  <property fmtid="{D5CDD505-2E9C-101B-9397-08002B2CF9AE}" pid="13" name="Shell SharePoint SAEF CountryOfJurisdiction">
    <vt:lpwstr>7;#NIGERIA|973e3eb3-a5f9-4712-a628-787e048af9f3</vt:lpwstr>
  </property>
  <property fmtid="{D5CDD505-2E9C-101B-9397-08002B2CF9AE}" pid="14" name="Shell SharePoint SAEF ExportControlClassification">
    <vt:lpwstr>9;#Non-US content - Non Controlled|2ac8835e-0587-4096-a6e2-1f68da1e6cb3</vt:lpwstr>
  </property>
  <property fmtid="{D5CDD505-2E9C-101B-9397-08002B2CF9AE}" pid="15" name="Shell SharePoint SAEF DocumentStatus">
    <vt:lpwstr>11;#Draft|1c86f377-7d91-4c95-bd5b-c18c83fe0aa5</vt:lpwstr>
  </property>
  <property fmtid="{D5CDD505-2E9C-101B-9397-08002B2CF9AE}" pid="16" name="Shell SharePoint SAEF Language">
    <vt:lpwstr>6;#English|bd3ad5ee-f0c3-40aa-8cc8-36ef09940af3</vt:lpwstr>
  </property>
  <property fmtid="{D5CDD505-2E9C-101B-9397-08002B2CF9AE}" pid="17" name="Shell SharePoint SAEF Business">
    <vt:lpwstr>1;#Upstream International|dabf15d9-4f75-4ed1-b8a1-a0c3e2a85888</vt:lpwstr>
  </property>
  <property fmtid="{D5CDD505-2E9C-101B-9397-08002B2CF9AE}" pid="18" name="Shell SharePoint SAEF BusinessProcess">
    <vt:lpwstr>10;#All - Records Management|1f68a0f2-47ab-4887-8df5-7c0616d5ad90</vt:lpwstr>
  </property>
  <property fmtid="{D5CDD505-2E9C-101B-9397-08002B2CF9AE}" pid="19" name="Shell SharePoint SAEF DocumentType">
    <vt:lpwstr/>
  </property>
</Properties>
</file>